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76" r:id="rId2"/>
    <p:sldId id="331" r:id="rId3"/>
    <p:sldId id="337" r:id="rId4"/>
    <p:sldId id="338" r:id="rId5"/>
    <p:sldId id="339" r:id="rId6"/>
    <p:sldId id="341" r:id="rId7"/>
    <p:sldId id="344" r:id="rId8"/>
    <p:sldId id="342" r:id="rId9"/>
    <p:sldId id="343" r:id="rId10"/>
  </p:sldIdLst>
  <p:sldSz cx="9906000" cy="6858000" type="A4"/>
  <p:notesSz cx="6858000" cy="9144000"/>
  <p:defaultTextStyle>
    <a:defPPr>
      <a:defRPr lang="es-CO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0066"/>
    <a:srgbClr val="082754"/>
    <a:srgbClr val="0A4D7A"/>
    <a:srgbClr val="094677"/>
    <a:srgbClr val="A50021"/>
    <a:srgbClr val="800000"/>
    <a:srgbClr val="996633"/>
    <a:srgbClr val="09466D"/>
    <a:srgbClr val="E36B1A"/>
    <a:srgbClr val="33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FECB4D8-DB02-4DC6-A0A2-4F2EBAE1DC90}" styleName="Estilo medio 1 - Énfasis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3" autoAdjust="0"/>
    <p:restoredTop sz="96168" autoAdjust="0"/>
  </p:normalViewPr>
  <p:slideViewPr>
    <p:cSldViewPr>
      <p:cViewPr varScale="1">
        <p:scale>
          <a:sx n="98" d="100"/>
          <a:sy n="98" d="100"/>
        </p:scale>
        <p:origin x="108" y="312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2" d="100"/>
          <a:sy n="82" d="100"/>
        </p:scale>
        <p:origin x="-2064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74C3A2F-84CF-41A4-A882-29B94EC65656}" type="datetimeFigureOut">
              <a:rPr lang="es-CO"/>
              <a:pPr>
                <a:defRPr/>
              </a:pPr>
              <a:t>24/02/2015</a:t>
            </a:fld>
            <a:endParaRPr lang="es-CO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917C769-987F-44FC-8799-969FD1BF8408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0044926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86E04C2-2937-4629-B9AF-2D8FE3CFA728}" type="datetimeFigureOut">
              <a:rPr lang="es-CO"/>
              <a:pPr>
                <a:defRPr/>
              </a:pPr>
              <a:t>24/02/2015</a:t>
            </a:fld>
            <a:endParaRPr lang="es-CO" dirty="0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s-CO" noProof="0" dirty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CO" noProof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3C2F1E3-85BB-4AD3-AAD2-C10CC4743F15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06890194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9 Imagen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661025"/>
            <a:ext cx="9906000" cy="119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O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F80355-26A5-4923-A7FF-4852F58F83CA}" type="datetimeFigureOut">
              <a:rPr lang="es-CO"/>
              <a:pPr>
                <a:defRPr/>
              </a:pPr>
              <a:t>24/02/2015</a:t>
            </a:fld>
            <a:endParaRPr lang="es-CO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ADCF29-C0DE-49D9-8F45-889FAB45E525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6939296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986677-3D09-45AE-A83A-B0678347935F}" type="datetimeFigureOut">
              <a:rPr lang="es-CO"/>
              <a:pPr>
                <a:defRPr/>
              </a:pPr>
              <a:t>24/02/2015</a:t>
            </a:fld>
            <a:endParaRPr lang="es-CO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313907-615D-43EC-B056-925FD45450C5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6344943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7780337" y="274639"/>
            <a:ext cx="2414588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536575" y="274639"/>
            <a:ext cx="7078663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09FEC7-C8AB-4F3D-91C6-25182E146705}" type="datetimeFigureOut">
              <a:rPr lang="es-CO"/>
              <a:pPr>
                <a:defRPr/>
              </a:pPr>
              <a:t>24/02/2015</a:t>
            </a:fld>
            <a:endParaRPr lang="es-CO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77C104-C271-4922-9FC2-3341AD69F88B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2930150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5"/>
          <p:cNvSpPr>
            <a:spLocks noChangeArrowheads="1"/>
          </p:cNvSpPr>
          <p:nvPr userDrawn="1"/>
        </p:nvSpPr>
        <p:spPr bwMode="auto">
          <a:xfrm>
            <a:off x="3524655" y="982469"/>
            <a:ext cx="272832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en-US" sz="3600" b="1" spc="50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Impact"/>
                <a:ea typeface="Helvetica Neue Bold Condensed" charset="0"/>
                <a:cs typeface="Impact"/>
              </a:rPr>
              <a:t> </a:t>
            </a:r>
          </a:p>
        </p:txBody>
      </p:sp>
      <p:sp>
        <p:nvSpPr>
          <p:cNvPr id="5" name="Rectángulo 5"/>
          <p:cNvSpPr>
            <a:spLocks noChangeArrowheads="1"/>
          </p:cNvSpPr>
          <p:nvPr userDrawn="1"/>
        </p:nvSpPr>
        <p:spPr bwMode="auto">
          <a:xfrm>
            <a:off x="2072680" y="404784"/>
            <a:ext cx="282450" cy="70788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en-US" sz="4000" b="1" spc="50" dirty="0">
                <a:ln w="11430"/>
                <a:solidFill>
                  <a:srgbClr val="1F497D">
                    <a:lumMod val="75000"/>
                  </a:srgbClr>
                </a:solidFill>
                <a:latin typeface="Impact"/>
                <a:ea typeface="Helvetica Neue Bold Condensed" charset="0"/>
                <a:cs typeface="Impact"/>
              </a:rPr>
              <a:t> 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CO" dirty="0"/>
          </a:p>
        </p:txBody>
      </p:sp>
      <p:sp>
        <p:nvSpPr>
          <p:cNvPr id="6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5D2270-E326-45CC-A74C-B7529D1D1E01}" type="datetimeFigureOut">
              <a:rPr lang="es-CO"/>
              <a:pPr>
                <a:defRPr/>
              </a:pPr>
              <a:t>24/02/2015</a:t>
            </a:fld>
            <a:endParaRPr lang="es-CO" dirty="0"/>
          </a:p>
        </p:txBody>
      </p:sp>
      <p:sp>
        <p:nvSpPr>
          <p:cNvPr id="7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8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9B55C2-788E-4091-A131-A16F25D81A9B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7916409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24DC81-7317-452B-9405-5541A6BB74A7}" type="datetimeFigureOut">
              <a:rPr lang="es-CO"/>
              <a:pPr>
                <a:defRPr/>
              </a:pPr>
              <a:t>24/02/2015</a:t>
            </a:fld>
            <a:endParaRPr lang="es-CO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C96561-1D88-4C34-98FD-B7048EFBB73C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5123177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536575" y="1600201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448300" y="1600201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9A81BC-47E4-4861-BE15-594C7865B601}" type="datetimeFigureOut">
              <a:rPr lang="es-CO"/>
              <a:pPr>
                <a:defRPr/>
              </a:pPr>
              <a:t>24/02/2015</a:t>
            </a:fld>
            <a:endParaRPr lang="es-CO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F3173D-9669-4A0E-85E4-36AE27FF230A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0459610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09A72E-ABC7-4FCF-AF24-9C07DAE45820}" type="datetimeFigureOut">
              <a:rPr lang="es-CO"/>
              <a:pPr>
                <a:defRPr/>
              </a:pPr>
              <a:t>24/02/2015</a:t>
            </a:fld>
            <a:endParaRPr lang="es-CO" dirty="0"/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58906C-CF78-44A0-9320-6C77DAF4A514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287470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20CD5E-953A-4870-A99B-4DA9B7B30237}" type="datetimeFigureOut">
              <a:rPr lang="es-CO"/>
              <a:pPr>
                <a:defRPr/>
              </a:pPr>
              <a:t>24/02/2015</a:t>
            </a:fld>
            <a:endParaRPr lang="es-CO" dirty="0"/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407B63-2748-423D-83A5-BB10F6308C9E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0842722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AFB672-67BC-4FAC-8850-3219C01847CD}" type="datetimeFigureOut">
              <a:rPr lang="es-CO"/>
              <a:pPr>
                <a:defRPr/>
              </a:pPr>
              <a:t>24/02/2015</a:t>
            </a:fld>
            <a:endParaRPr lang="es-CO" dirty="0"/>
          </a:p>
        </p:txBody>
      </p:sp>
      <p:sp>
        <p:nvSpPr>
          <p:cNvPr id="3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01B299-7353-42A4-B5CE-E512678E874C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594800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C8FA60-3E14-4470-B633-3EEF6DABC52F}" type="datetimeFigureOut">
              <a:rPr lang="es-CO"/>
              <a:pPr>
                <a:defRPr/>
              </a:pPr>
              <a:t>24/02/2015</a:t>
            </a:fld>
            <a:endParaRPr lang="es-CO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0E04B6-64A3-4D4F-901E-2433E906C437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4237887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s-ES" noProof="0" dirty="0" smtClean="0"/>
              <a:t>Haga clic en el icono para agregar una imagen</a:t>
            </a:r>
            <a:endParaRPr lang="es-CO" noProof="0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0C4B47-C5F1-441A-B1AC-72F85E5FA3A0}" type="datetimeFigureOut">
              <a:rPr lang="es-CO"/>
              <a:pPr>
                <a:defRPr/>
              </a:pPr>
              <a:t>24/02/2015</a:t>
            </a:fld>
            <a:endParaRPr lang="es-CO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6FB9FE-C7BF-4A07-9104-9FB5F2F8D7F1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2337130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jp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1 Marcador de título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s-CO" smtClean="0"/>
          </a:p>
        </p:txBody>
      </p:sp>
      <p:pic>
        <p:nvPicPr>
          <p:cNvPr id="1027" name="7 Imagen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21388"/>
            <a:ext cx="9906000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 smtClean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7033866-6AF4-4A2D-ACAA-9F63535E8C2A}" type="datetimeFigureOut">
              <a:rPr lang="es-CO"/>
              <a:pPr>
                <a:defRPr/>
              </a:pPr>
              <a:t>24/02/2015</a:t>
            </a:fld>
            <a:endParaRPr lang="es-CO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DBDFA6C-B1FB-4021-845A-52808C171FEF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  <p:pic>
        <p:nvPicPr>
          <p:cNvPr id="2" name="Imagen 1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464" y="92076"/>
            <a:ext cx="1013043" cy="742603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64" t="22700" r="2941" b="22701"/>
          <a:stretch/>
        </p:blipFill>
        <p:spPr>
          <a:xfrm>
            <a:off x="8255000" y="44451"/>
            <a:ext cx="1420773" cy="64807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90" r:id="rId1"/>
    <p:sldLayoutId id="2147484091" r:id="rId2"/>
    <p:sldLayoutId id="2147484080" r:id="rId3"/>
    <p:sldLayoutId id="2147484081" r:id="rId4"/>
    <p:sldLayoutId id="2147484082" r:id="rId5"/>
    <p:sldLayoutId id="2147484083" r:id="rId6"/>
    <p:sldLayoutId id="2147484084" r:id="rId7"/>
    <p:sldLayoutId id="2147484085" r:id="rId8"/>
    <p:sldLayoutId id="2147484086" r:id="rId9"/>
    <p:sldLayoutId id="2147484087" r:id="rId10"/>
    <p:sldLayoutId id="2147484088" r:id="rId11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tx1"/>
          </a:solidFill>
          <a:latin typeface="Impact" pitchFamily="34" charset="0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Impact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Impact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Impact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Impact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hyperlink" Target="mailto:contactenos@ani.gov.co" TargetMode="Externa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hyperlink" Target="http://www.ani.gov.co/" TargetMode="Externa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://www.ani.gov.co/rendicion-de-cuentas/informacion-contable-financiera" TargetMode="Externa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1 Título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</p:spPr>
        <p:txBody>
          <a:bodyPr/>
          <a:lstStyle/>
          <a:p>
            <a:pPr eaLnBrk="1" hangingPunct="1"/>
            <a:endParaRPr lang="es-ES" smtClean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s-CO" dirty="0"/>
          </a:p>
        </p:txBody>
      </p:sp>
      <p:pic>
        <p:nvPicPr>
          <p:cNvPr id="4100" name="Picture 2" descr="D:\Manual de Identidad Corporativa\Manual JPG\MANUAL ANI FINAL PRIMERA PARTE-0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7475" y="-373063"/>
            <a:ext cx="10023475" cy="7231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6"/>
          <p:cNvSpPr>
            <a:spLocks noChangeArrowheads="1"/>
          </p:cNvSpPr>
          <p:nvPr/>
        </p:nvSpPr>
        <p:spPr bwMode="auto">
          <a:xfrm>
            <a:off x="1136576" y="2885653"/>
            <a:ext cx="6493242" cy="83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b" anchorCtr="0" upright="1">
            <a:no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es-CO" sz="3600" b="1" dirty="0" smtClean="0">
                <a:effectLst/>
                <a:latin typeface="Calibri"/>
                <a:ea typeface="Times New Roman"/>
                <a:cs typeface="Times New Roman"/>
              </a:rPr>
              <a:t>AVANCES TEMAS ADMINISTRATIVOS</a:t>
            </a:r>
            <a:endParaRPr lang="es-CO" sz="1400" dirty="0">
              <a:effectLst/>
              <a:latin typeface="Calibri"/>
              <a:ea typeface="Times New Roma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381115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uadroTexto 11"/>
          <p:cNvSpPr txBox="1">
            <a:spLocks noChangeArrowheads="1"/>
          </p:cNvSpPr>
          <p:nvPr/>
        </p:nvSpPr>
        <p:spPr bwMode="auto">
          <a:xfrm>
            <a:off x="-214313" y="1487488"/>
            <a:ext cx="8321676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>
              <a:defRPr/>
            </a:pPr>
            <a:r>
              <a:rPr lang="es-ES_tradnl" sz="3200" dirty="0">
                <a:solidFill>
                  <a:srgbClr val="1F497D">
                    <a:lumMod val="50000"/>
                  </a:srgbClr>
                </a:solidFill>
                <a:latin typeface="Impact"/>
                <a:ea typeface="Helvetica Neue Bold Condensed" charset="0"/>
                <a:cs typeface="Impact"/>
                <a:sym typeface="Helvetica Neue Bold Condensed" charset="0"/>
              </a:rPr>
              <a:t>Atención Peticiones, Quejas y Reclamos</a:t>
            </a:r>
          </a:p>
        </p:txBody>
      </p:sp>
      <p:sp>
        <p:nvSpPr>
          <p:cNvPr id="12" name="AutoShape 13"/>
          <p:cNvSpPr>
            <a:spLocks noChangeArrowheads="1"/>
          </p:cNvSpPr>
          <p:nvPr>
            <p:custDataLst>
              <p:tags r:id="rId1"/>
            </p:custDataLst>
          </p:nvPr>
        </p:nvSpPr>
        <p:spPr bwMode="blackGray">
          <a:xfrm>
            <a:off x="2965450" y="2709863"/>
            <a:ext cx="209550" cy="898525"/>
          </a:xfrm>
          <a:prstGeom prst="rightArrow">
            <a:avLst>
              <a:gd name="adj1" fmla="val 55176"/>
              <a:gd name="adj2" fmla="val 100000"/>
            </a:avLst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12700" algn="ctr">
            <a:noFill/>
            <a:miter lim="800000"/>
            <a:headEnd/>
            <a:tailEnd/>
          </a:ln>
          <a:effectLst/>
        </p:spPr>
        <p:txBody>
          <a:bodyPr rot="10800000" vert="eaVert" wrap="none" lIns="93286" tIns="46643" rIns="93286" bIns="46643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84" charset="0"/>
              <a:ea typeface="ＭＳ Ｐゴシック" pitchFamily="84" charset="-128"/>
              <a:cs typeface="ＭＳ Ｐゴシック" pitchFamily="84" charset="-128"/>
            </a:endParaRPr>
          </a:p>
        </p:txBody>
      </p:sp>
      <p:sp>
        <p:nvSpPr>
          <p:cNvPr id="13" name="Rectangle 1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457575" y="2420888"/>
            <a:ext cx="4903788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Línea 01 8000 124626</a:t>
            </a:r>
          </a:p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 smtClean="0">
                <a:solidFill>
                  <a:prstClr val="black"/>
                </a:solidFill>
                <a:ea typeface="ＭＳ Ｐゴシック" pitchFamily="34" charset="-128"/>
                <a:cs typeface="+mn-cs"/>
                <a:hlinkClick r:id="rId6"/>
              </a:rPr>
              <a:t>www.ani.gov.co</a:t>
            </a:r>
            <a:endParaRPr lang="es-CO" dirty="0" smtClean="0">
              <a:solidFill>
                <a:prstClr val="black"/>
              </a:solidFill>
              <a:ea typeface="ＭＳ Ｐゴシック" pitchFamily="34" charset="-128"/>
              <a:cs typeface="+mn-cs"/>
            </a:endParaRPr>
          </a:p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 smtClean="0">
                <a:solidFill>
                  <a:prstClr val="black"/>
                </a:solidFill>
                <a:ea typeface="ＭＳ Ｐゴシック" pitchFamily="34" charset="-128"/>
                <a:cs typeface="+mn-cs"/>
                <a:hlinkClick r:id="rId7"/>
              </a:rPr>
              <a:t>contactenos@ani.gov.co</a:t>
            </a:r>
            <a:endParaRPr lang="es-CO" dirty="0" smtClean="0">
              <a:solidFill>
                <a:prstClr val="black"/>
              </a:solidFill>
              <a:ea typeface="ＭＳ Ｐゴシック" pitchFamily="34" charset="-128"/>
              <a:cs typeface="+mn-cs"/>
            </a:endParaRPr>
          </a:p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 err="1" smtClean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Flickr</a:t>
            </a:r>
            <a:r>
              <a:rPr lang="es-CO" dirty="0" smtClean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, Facebook, Twitter</a:t>
            </a:r>
          </a:p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 smtClean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Calle 26 N°59-51 piso 2</a:t>
            </a:r>
            <a:endParaRPr lang="es-CO" dirty="0">
              <a:solidFill>
                <a:prstClr val="black"/>
              </a:solidFill>
              <a:ea typeface="ＭＳ Ｐゴシック" pitchFamily="34" charset="-128"/>
              <a:cs typeface="+mn-cs"/>
            </a:endParaRPr>
          </a:p>
        </p:txBody>
      </p:sp>
      <p:sp>
        <p:nvSpPr>
          <p:cNvPr id="14" name="AutoShape 13"/>
          <p:cNvSpPr>
            <a:spLocks noChangeArrowheads="1"/>
          </p:cNvSpPr>
          <p:nvPr>
            <p:custDataLst>
              <p:tags r:id="rId3"/>
            </p:custDataLst>
          </p:nvPr>
        </p:nvSpPr>
        <p:spPr bwMode="blackGray">
          <a:xfrm>
            <a:off x="2965450" y="4281488"/>
            <a:ext cx="209550" cy="898525"/>
          </a:xfrm>
          <a:prstGeom prst="rightArrow">
            <a:avLst>
              <a:gd name="adj1" fmla="val 55176"/>
              <a:gd name="adj2" fmla="val 100000"/>
            </a:avLst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12700" algn="ctr">
            <a:noFill/>
            <a:miter lim="800000"/>
            <a:headEnd/>
            <a:tailEnd/>
          </a:ln>
          <a:effectLst/>
        </p:spPr>
        <p:txBody>
          <a:bodyPr rot="10800000" vert="eaVert" wrap="none" lIns="93286" tIns="46643" rIns="93286" bIns="46643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84" charset="0"/>
              <a:ea typeface="ＭＳ Ｐゴシック" pitchFamily="84" charset="-128"/>
              <a:cs typeface="ＭＳ Ｐゴシック" pitchFamily="84" charset="-128"/>
            </a:endParaRPr>
          </a:p>
        </p:txBody>
      </p:sp>
      <p:sp>
        <p:nvSpPr>
          <p:cNvPr id="15" name="Rectangle 1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457575" y="4077072"/>
            <a:ext cx="4884738" cy="2215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>
                <a:ea typeface="ＭＳ Ｐゴシック" pitchFamily="34" charset="-128"/>
              </a:rPr>
              <a:t>Ingresaron 65.575 documentos.</a:t>
            </a:r>
          </a:p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 smtClean="0">
                <a:ea typeface="ＭＳ Ｐゴシック" pitchFamily="34" charset="-128"/>
              </a:rPr>
              <a:t>32% corresponden </a:t>
            </a:r>
            <a:r>
              <a:rPr lang="es-CO" dirty="0">
                <a:ea typeface="ＭＳ Ｐゴシック" pitchFamily="34" charset="-128"/>
              </a:rPr>
              <a:t>a derechos de petición, solicitudes de información, solicitudes de copias, sugerencias, consultas y demás PQRS.</a:t>
            </a:r>
          </a:p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>
                <a:ea typeface="ＭＳ Ｐゴシック" pitchFamily="34" charset="-128"/>
              </a:rPr>
              <a:t>Énfasis en temas de trazados de nuevos proyectos y socialización de los mismos</a:t>
            </a:r>
          </a:p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>
                <a:ea typeface="ＭＳ Ｐゴシック" pitchFamily="34" charset="-128"/>
              </a:rPr>
              <a:t>El 74,09 % atendidos oportunamente.</a:t>
            </a:r>
          </a:p>
        </p:txBody>
      </p:sp>
      <p:sp>
        <p:nvSpPr>
          <p:cNvPr id="16" name="9 Rectángulo"/>
          <p:cNvSpPr/>
          <p:nvPr/>
        </p:nvSpPr>
        <p:spPr bwMode="auto">
          <a:xfrm>
            <a:off x="721759" y="2667019"/>
            <a:ext cx="1885727" cy="1000447"/>
          </a:xfrm>
          <a:prstGeom prst="rect">
            <a:avLst/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txBody>
          <a:bodyPr lIns="45720" tIns="22860" rIns="45720" bIns="22860" spcCol="1270" anchor="ctr"/>
          <a:lstStyle/>
          <a:p>
            <a:pPr marL="0" marR="0" lvl="0" indent="0" algn="ctr" defTabSz="533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Lt"/>
                <a:ea typeface="+mn-ea"/>
                <a:cs typeface="+mn-cs"/>
              </a:rPr>
              <a:t>Canales</a:t>
            </a:r>
            <a:endParaRPr kumimoji="0" lang="es-CO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Lt"/>
              <a:ea typeface="+mn-ea"/>
              <a:cs typeface="+mn-cs"/>
            </a:endParaRPr>
          </a:p>
        </p:txBody>
      </p:sp>
      <p:sp>
        <p:nvSpPr>
          <p:cNvPr id="17" name="10 Rectángulo"/>
          <p:cNvSpPr/>
          <p:nvPr/>
        </p:nvSpPr>
        <p:spPr bwMode="auto">
          <a:xfrm>
            <a:off x="721759" y="4186852"/>
            <a:ext cx="1885727" cy="1000447"/>
          </a:xfrm>
          <a:prstGeom prst="rect">
            <a:avLst/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txBody>
          <a:bodyPr lIns="45720" tIns="22860" rIns="45720" bIns="22860" spcCol="1270" anchor="ctr"/>
          <a:lstStyle/>
          <a:p>
            <a:pPr marL="0" marR="0" lvl="0" indent="0" algn="ctr" defTabSz="533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Lt"/>
                <a:ea typeface="+mn-ea"/>
                <a:cs typeface="+mn-cs"/>
              </a:rPr>
              <a:t>Evaluación</a:t>
            </a:r>
          </a:p>
        </p:txBody>
      </p:sp>
      <p:sp>
        <p:nvSpPr>
          <p:cNvPr id="18" name="Rectángulo 17"/>
          <p:cNvSpPr/>
          <p:nvPr/>
        </p:nvSpPr>
        <p:spPr>
          <a:xfrm>
            <a:off x="920552" y="0"/>
            <a:ext cx="6912768" cy="132343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Temas Administrativos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121445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1"/>
          <p:cNvSpPr txBox="1">
            <a:spLocks noChangeArrowheads="1"/>
          </p:cNvSpPr>
          <p:nvPr/>
        </p:nvSpPr>
        <p:spPr bwMode="auto">
          <a:xfrm>
            <a:off x="106363" y="1784871"/>
            <a:ext cx="8358187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s-ES_tradnl" sz="4000" dirty="0">
                <a:solidFill>
                  <a:srgbClr val="1F497D">
                    <a:lumMod val="50000"/>
                  </a:srgbClr>
                </a:solidFill>
                <a:latin typeface="Impact"/>
                <a:ea typeface="Helvetica Neue Bold Condensed" charset="0"/>
                <a:cs typeface="Impact"/>
                <a:sym typeface="Helvetica Neue Bold Condensed" charset="0"/>
              </a:rPr>
              <a:t>Gestión del Recurso Humano</a:t>
            </a:r>
          </a:p>
        </p:txBody>
      </p:sp>
      <p:sp>
        <p:nvSpPr>
          <p:cNvPr id="15" name="5 Rectángulo"/>
          <p:cNvSpPr/>
          <p:nvPr/>
        </p:nvSpPr>
        <p:spPr bwMode="auto">
          <a:xfrm>
            <a:off x="1259632" y="2779166"/>
            <a:ext cx="1296144" cy="1289050"/>
          </a:xfrm>
          <a:prstGeom prst="rect">
            <a:avLst/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txBody>
          <a:bodyPr lIns="45720" tIns="22860" rIns="45720" bIns="22860" spcCol="1270" anchor="ctr"/>
          <a:lstStyle/>
          <a:p>
            <a:pPr marL="0" marR="0" lvl="0" indent="0" algn="ctr" defTabSz="533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Lt"/>
                <a:ea typeface="+mn-ea"/>
                <a:cs typeface="+mn-cs"/>
              </a:rPr>
              <a:t>Planta de Personal</a:t>
            </a:r>
          </a:p>
        </p:txBody>
      </p:sp>
      <p:sp>
        <p:nvSpPr>
          <p:cNvPr id="16" name="AutoShape 13"/>
          <p:cNvSpPr>
            <a:spLocks noChangeArrowheads="1"/>
          </p:cNvSpPr>
          <p:nvPr>
            <p:custDataLst>
              <p:tags r:id="rId1"/>
            </p:custDataLst>
          </p:nvPr>
        </p:nvSpPr>
        <p:spPr bwMode="blackGray">
          <a:xfrm>
            <a:off x="3038475" y="2961503"/>
            <a:ext cx="209550" cy="898525"/>
          </a:xfrm>
          <a:prstGeom prst="rightArrow">
            <a:avLst>
              <a:gd name="adj1" fmla="val 55176"/>
              <a:gd name="adj2" fmla="val 100000"/>
            </a:avLst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12700" algn="ctr">
            <a:noFill/>
            <a:miter lim="800000"/>
            <a:headEnd/>
            <a:tailEnd/>
          </a:ln>
          <a:effectLst/>
        </p:spPr>
        <p:txBody>
          <a:bodyPr rot="10800000" vert="eaVert" wrap="none" lIns="93286" tIns="46643" rIns="93286" bIns="46643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84" charset="0"/>
              <a:ea typeface="ＭＳ Ｐゴシック" pitchFamily="84" charset="-128"/>
              <a:cs typeface="ＭＳ Ｐゴシック" pitchFamily="84" charset="-128"/>
            </a:endParaRPr>
          </a:p>
        </p:txBody>
      </p:sp>
      <p:sp>
        <p:nvSpPr>
          <p:cNvPr id="18" name="AutoShape 13"/>
          <p:cNvSpPr>
            <a:spLocks noChangeArrowheads="1"/>
          </p:cNvSpPr>
          <p:nvPr>
            <p:custDataLst>
              <p:tags r:id="rId2"/>
            </p:custDataLst>
          </p:nvPr>
        </p:nvSpPr>
        <p:spPr bwMode="blackGray">
          <a:xfrm>
            <a:off x="3000375" y="4652191"/>
            <a:ext cx="209550" cy="898525"/>
          </a:xfrm>
          <a:prstGeom prst="rightArrow">
            <a:avLst>
              <a:gd name="adj1" fmla="val 55176"/>
              <a:gd name="adj2" fmla="val 100000"/>
            </a:avLst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12700" algn="ctr">
            <a:noFill/>
            <a:miter lim="800000"/>
            <a:headEnd/>
            <a:tailEnd/>
          </a:ln>
          <a:effectLst/>
        </p:spPr>
        <p:txBody>
          <a:bodyPr rot="10800000" vert="eaVert" wrap="none" lIns="93286" tIns="46643" rIns="93286" bIns="46643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84" charset="0"/>
              <a:ea typeface="ＭＳ Ｐゴシック" pitchFamily="84" charset="-128"/>
              <a:cs typeface="ＭＳ Ｐゴシック" pitchFamily="84" charset="-128"/>
            </a:endParaRPr>
          </a:p>
        </p:txBody>
      </p:sp>
      <p:sp>
        <p:nvSpPr>
          <p:cNvPr id="19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842024" y="4962953"/>
            <a:ext cx="459105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 smtClean="0">
                <a:latin typeface="Futura Lt"/>
                <a:ea typeface="ＭＳ Ｐゴシック" pitchFamily="34" charset="-128"/>
                <a:cs typeface="+mn-cs"/>
              </a:rPr>
              <a:t>222</a:t>
            </a:r>
            <a:r>
              <a:rPr lang="es-CO" dirty="0" smtClean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 </a:t>
            </a:r>
            <a:r>
              <a:rPr lang="es-CO" dirty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contratistas en la </a:t>
            </a:r>
            <a:r>
              <a:rPr lang="es-CO" dirty="0" smtClean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entidad</a:t>
            </a:r>
            <a:endParaRPr lang="es-CO" dirty="0">
              <a:solidFill>
                <a:prstClr val="black"/>
              </a:solidFill>
              <a:latin typeface="Futura Lt"/>
              <a:ea typeface="ＭＳ Ｐゴシック" pitchFamily="34" charset="-128"/>
              <a:cs typeface="+mn-cs"/>
            </a:endParaRPr>
          </a:p>
        </p:txBody>
      </p:sp>
      <p:sp>
        <p:nvSpPr>
          <p:cNvPr id="20" name="10 Rectángulo"/>
          <p:cNvSpPr/>
          <p:nvPr/>
        </p:nvSpPr>
        <p:spPr bwMode="auto">
          <a:xfrm>
            <a:off x="1259632" y="4507358"/>
            <a:ext cx="1296144" cy="1153890"/>
          </a:xfrm>
          <a:prstGeom prst="rect">
            <a:avLst/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txBody>
          <a:bodyPr lIns="45720" tIns="22860" rIns="45720" bIns="22860" spcCol="1270" anchor="ctr"/>
          <a:lstStyle/>
          <a:p>
            <a:pPr marL="0" marR="0" lvl="0" indent="0" algn="ctr" defTabSz="533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Lt"/>
                <a:ea typeface="+mn-ea"/>
                <a:cs typeface="+mn-cs"/>
              </a:rPr>
              <a:t>Contratos de Prestación de Servicios</a:t>
            </a:r>
          </a:p>
        </p:txBody>
      </p:sp>
      <p:sp>
        <p:nvSpPr>
          <p:cNvPr id="22" name="Rectángulo 21"/>
          <p:cNvSpPr/>
          <p:nvPr/>
        </p:nvSpPr>
        <p:spPr>
          <a:xfrm>
            <a:off x="920552" y="0"/>
            <a:ext cx="6912768" cy="132343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Temas Administrativos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sp>
        <p:nvSpPr>
          <p:cNvPr id="10" name="Rectangle 1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702050" y="2869428"/>
            <a:ext cx="4591050" cy="16619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Agencia </a:t>
            </a:r>
            <a:r>
              <a:rPr lang="es-CO" dirty="0" smtClean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creada mediante </a:t>
            </a:r>
            <a:r>
              <a:rPr lang="es-CO" dirty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Decreto 4165/11 y planta creada mediante </a:t>
            </a:r>
            <a:r>
              <a:rPr lang="es-CO" dirty="0" smtClean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Decretos 0665/12,  Decreto </a:t>
            </a:r>
            <a:r>
              <a:rPr lang="es-CO" dirty="0" smtClean="0">
                <a:solidFill>
                  <a:prstClr val="black"/>
                </a:solidFill>
                <a:latin typeface="Futura Lt"/>
                <a:ea typeface="ＭＳ Ｐゴシック" pitchFamily="34" charset="-128"/>
              </a:rPr>
              <a:t>1745/13 y el Decreto 2468/13 </a:t>
            </a:r>
          </a:p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 smtClean="0">
                <a:latin typeface="Futura Lt"/>
                <a:ea typeface="ＭＳ Ｐゴシック" pitchFamily="34" charset="-128"/>
                <a:cs typeface="+mn-cs"/>
              </a:rPr>
              <a:t>246 </a:t>
            </a:r>
            <a:r>
              <a:rPr lang="es-CO" dirty="0">
                <a:latin typeface="Futura Lt"/>
                <a:ea typeface="ＭＳ Ｐゴシック" pitchFamily="34" charset="-128"/>
                <a:cs typeface="+mn-cs"/>
              </a:rPr>
              <a:t>cargos en Planta</a:t>
            </a:r>
          </a:p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 smtClean="0">
                <a:latin typeface="Futura Lt"/>
                <a:ea typeface="ＭＳ Ｐゴシック" pitchFamily="34" charset="-128"/>
                <a:cs typeface="+mn-cs"/>
              </a:rPr>
              <a:t>236 </a:t>
            </a:r>
            <a:r>
              <a:rPr lang="es-CO" dirty="0" smtClean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cargos </a:t>
            </a:r>
            <a:r>
              <a:rPr lang="es-CO" dirty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provistos </a:t>
            </a:r>
            <a:r>
              <a:rPr lang="es-CO" dirty="0" smtClean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a Dic/14</a:t>
            </a:r>
            <a:endParaRPr lang="es-CO" dirty="0">
              <a:solidFill>
                <a:prstClr val="black"/>
              </a:solidFill>
              <a:latin typeface="Futura Lt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7634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920552" y="0"/>
            <a:ext cx="6912768" cy="132343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Temas Administrativos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sp>
        <p:nvSpPr>
          <p:cNvPr id="3" name="CuadroTexto 11"/>
          <p:cNvSpPr txBox="1">
            <a:spLocks noChangeArrowheads="1"/>
          </p:cNvSpPr>
          <p:nvPr/>
        </p:nvSpPr>
        <p:spPr bwMode="auto">
          <a:xfrm>
            <a:off x="106363" y="1268760"/>
            <a:ext cx="8358187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s-ES_tradnl" sz="4000" dirty="0">
                <a:solidFill>
                  <a:srgbClr val="1F497D">
                    <a:lumMod val="50000"/>
                  </a:srgbClr>
                </a:solidFill>
                <a:latin typeface="Impact"/>
                <a:ea typeface="Helvetica Neue Bold Condensed" charset="0"/>
                <a:cs typeface="Impact"/>
                <a:sym typeface="Helvetica Neue Bold Condensed" charset="0"/>
              </a:rPr>
              <a:t>Gestión del Recurso Humano</a:t>
            </a:r>
          </a:p>
        </p:txBody>
      </p:sp>
      <p:sp>
        <p:nvSpPr>
          <p:cNvPr id="4" name="5 Rectángulo"/>
          <p:cNvSpPr/>
          <p:nvPr/>
        </p:nvSpPr>
        <p:spPr bwMode="auto">
          <a:xfrm>
            <a:off x="920552" y="2383060"/>
            <a:ext cx="1296144" cy="1289050"/>
          </a:xfrm>
          <a:prstGeom prst="rect">
            <a:avLst/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txBody>
          <a:bodyPr lIns="45720" tIns="22860" rIns="45720" bIns="22860" spcCol="1270" anchor="ctr"/>
          <a:lstStyle/>
          <a:p>
            <a:pPr marL="0" marR="0" lvl="0" indent="0" algn="ctr" defTabSz="533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es-CO" sz="1400" b="1" kern="0" dirty="0" smtClean="0">
                <a:solidFill>
                  <a:prstClr val="black"/>
                </a:solidFill>
                <a:latin typeface="Futura Lt"/>
                <a:cs typeface="+mn-cs"/>
              </a:rPr>
              <a:t>Capacitación</a:t>
            </a:r>
            <a:endParaRPr kumimoji="0" lang="es-CO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Lt"/>
              <a:ea typeface="+mn-ea"/>
              <a:cs typeface="+mn-cs"/>
            </a:endParaRPr>
          </a:p>
        </p:txBody>
      </p:sp>
      <p:sp>
        <p:nvSpPr>
          <p:cNvPr id="5" name="AutoShape 13"/>
          <p:cNvSpPr>
            <a:spLocks noChangeArrowheads="1"/>
          </p:cNvSpPr>
          <p:nvPr>
            <p:custDataLst>
              <p:tags r:id="rId1"/>
            </p:custDataLst>
          </p:nvPr>
        </p:nvSpPr>
        <p:spPr bwMode="blackGray">
          <a:xfrm>
            <a:off x="2699395" y="2565397"/>
            <a:ext cx="209550" cy="898525"/>
          </a:xfrm>
          <a:prstGeom prst="rightArrow">
            <a:avLst>
              <a:gd name="adj1" fmla="val 55176"/>
              <a:gd name="adj2" fmla="val 100000"/>
            </a:avLst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12700" algn="ctr">
            <a:noFill/>
            <a:miter lim="800000"/>
            <a:headEnd/>
            <a:tailEnd/>
          </a:ln>
          <a:effectLst/>
        </p:spPr>
        <p:txBody>
          <a:bodyPr rot="10800000" vert="eaVert" wrap="none" lIns="93286" tIns="46643" rIns="93286" bIns="46643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84" charset="0"/>
              <a:ea typeface="ＭＳ Ｐゴシック" pitchFamily="84" charset="-128"/>
              <a:cs typeface="ＭＳ Ｐゴシック" pitchFamily="84" charset="-128"/>
            </a:endParaRPr>
          </a:p>
        </p:txBody>
      </p:sp>
      <p:sp>
        <p:nvSpPr>
          <p:cNvPr id="7" name="5 Rectángulo"/>
          <p:cNvSpPr/>
          <p:nvPr/>
        </p:nvSpPr>
        <p:spPr bwMode="auto">
          <a:xfrm>
            <a:off x="941512" y="3832076"/>
            <a:ext cx="1296144" cy="1289050"/>
          </a:xfrm>
          <a:prstGeom prst="rect">
            <a:avLst/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txBody>
          <a:bodyPr lIns="45720" tIns="22860" rIns="45720" bIns="22860" spcCol="1270" anchor="ctr"/>
          <a:lstStyle/>
          <a:p>
            <a:pPr marL="0" marR="0" lvl="0" indent="0" algn="ctr" defTabSz="533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es-CO" sz="1400" b="1" kern="0" dirty="0" smtClean="0">
                <a:solidFill>
                  <a:prstClr val="black"/>
                </a:solidFill>
                <a:latin typeface="Futura Lt"/>
                <a:cs typeface="+mn-cs"/>
              </a:rPr>
              <a:t>Modificación Planta de Personal</a:t>
            </a:r>
            <a:endParaRPr kumimoji="0" lang="es-CO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Lt"/>
              <a:ea typeface="+mn-ea"/>
              <a:cs typeface="+mn-cs"/>
            </a:endParaRPr>
          </a:p>
        </p:txBody>
      </p:sp>
      <p:sp>
        <p:nvSpPr>
          <p:cNvPr id="8" name="AutoShape 13"/>
          <p:cNvSpPr>
            <a:spLocks noChangeArrowheads="1"/>
          </p:cNvSpPr>
          <p:nvPr>
            <p:custDataLst>
              <p:tags r:id="rId2"/>
            </p:custDataLst>
          </p:nvPr>
        </p:nvSpPr>
        <p:spPr bwMode="blackGray">
          <a:xfrm>
            <a:off x="2720355" y="4014413"/>
            <a:ext cx="209550" cy="898525"/>
          </a:xfrm>
          <a:prstGeom prst="rightArrow">
            <a:avLst>
              <a:gd name="adj1" fmla="val 55176"/>
              <a:gd name="adj2" fmla="val 100000"/>
            </a:avLst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12700" algn="ctr">
            <a:noFill/>
            <a:miter lim="800000"/>
            <a:headEnd/>
            <a:tailEnd/>
          </a:ln>
          <a:effectLst/>
        </p:spPr>
        <p:txBody>
          <a:bodyPr rot="10800000" vert="eaVert" wrap="none" lIns="93286" tIns="46643" rIns="93286" bIns="46643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84" charset="0"/>
              <a:ea typeface="ＭＳ Ｐゴシック" pitchFamily="84" charset="-128"/>
              <a:cs typeface="ＭＳ Ｐゴシック" pitchFamily="84" charset="-128"/>
            </a:endParaRPr>
          </a:p>
        </p:txBody>
      </p:sp>
      <p:sp>
        <p:nvSpPr>
          <p:cNvPr id="10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029744" y="2708920"/>
            <a:ext cx="5731946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2000" dirty="0" smtClean="0">
                <a:latin typeface="Futura Lt"/>
                <a:ea typeface="ＭＳ Ｐゴシック" pitchFamily="34" charset="-128"/>
                <a:cs typeface="+mn-cs"/>
              </a:rPr>
              <a:t>509 Participaciones en los diferentes programas</a:t>
            </a:r>
          </a:p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2000" dirty="0" smtClean="0">
                <a:latin typeface="Futura Lt"/>
                <a:ea typeface="ＭＳ Ｐゴシック" pitchFamily="34" charset="-128"/>
                <a:cs typeface="+mn-cs"/>
              </a:rPr>
              <a:t>Presupuesto ejecutado $102.393.000</a:t>
            </a:r>
            <a:endParaRPr lang="es-CO" sz="2000" dirty="0">
              <a:latin typeface="Futura Lt"/>
              <a:ea typeface="ＭＳ Ｐゴシック" pitchFamily="34" charset="-128"/>
              <a:cs typeface="+mn-cs"/>
            </a:endParaRPr>
          </a:p>
        </p:txBody>
      </p:sp>
      <p:sp>
        <p:nvSpPr>
          <p:cNvPr id="11" name="Rectangle 1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041729" y="3717032"/>
            <a:ext cx="6015727" cy="1846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2000" dirty="0" smtClean="0">
                <a:latin typeface="Futura Lt"/>
                <a:ea typeface="ＭＳ Ｐゴシック" pitchFamily="34" charset="-128"/>
                <a:cs typeface="+mn-cs"/>
              </a:rPr>
              <a:t>Se envió al DAFP y Ministerio de Transporte el Estudio Técnico para ampliación de Planta</a:t>
            </a:r>
          </a:p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2000" dirty="0" smtClean="0">
                <a:latin typeface="Futura Lt"/>
                <a:ea typeface="ＭＳ Ｐゴシック" pitchFamily="34" charset="-128"/>
                <a:cs typeface="+mn-cs"/>
              </a:rPr>
              <a:t>El Manual se ha ajustado según lo establecido en el Decreto 1785 de 2014</a:t>
            </a:r>
          </a:p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2000" dirty="0" smtClean="0">
                <a:latin typeface="Futura Lt"/>
                <a:ea typeface="ＭＳ Ｐゴシック" pitchFamily="34" charset="-128"/>
                <a:cs typeface="+mn-cs"/>
              </a:rPr>
              <a:t>Se realizó Encuesta de Clima Laboral con un porcentaje de satisfacción promedio del 80% </a:t>
            </a:r>
          </a:p>
        </p:txBody>
      </p:sp>
    </p:spTree>
    <p:extLst>
      <p:ext uri="{BB962C8B-B14F-4D97-AF65-F5344CB8AC3E}">
        <p14:creationId xmlns:p14="http://schemas.microsoft.com/office/powerpoint/2010/main" val="2087969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contenido 1"/>
          <p:cNvSpPr txBox="1">
            <a:spLocks/>
          </p:cNvSpPr>
          <p:nvPr/>
        </p:nvSpPr>
        <p:spPr>
          <a:xfrm>
            <a:off x="560512" y="2492896"/>
            <a:ext cx="8915400" cy="4525963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s-CO" sz="1600" dirty="0" smtClean="0">
                <a:latin typeface="Arial Narrow" panose="020B0606020202030204" pitchFamily="34" charset="0"/>
              </a:rPr>
              <a:t>Derechos Humanos con enfoque de Equidad de Género- CONPES 161 </a:t>
            </a:r>
          </a:p>
          <a:p>
            <a:pPr lvl="1"/>
            <a:r>
              <a:rPr lang="es-CO" sz="1600" dirty="0" smtClean="0">
                <a:latin typeface="Arial Narrow" panose="020B0606020202030204" pitchFamily="34" charset="0"/>
              </a:rPr>
              <a:t>Técnicas de Negociación y Comunicación Oral Efectiva</a:t>
            </a:r>
          </a:p>
          <a:p>
            <a:pPr lvl="1"/>
            <a:r>
              <a:rPr lang="es-CO" sz="1600" dirty="0" smtClean="0">
                <a:latin typeface="Arial Narrow" panose="020B0606020202030204" pitchFamily="34" charset="0"/>
              </a:rPr>
              <a:t>Mecanismos alternativos de solución de conflictos, estrategias de negociación y Conciliación</a:t>
            </a:r>
          </a:p>
          <a:p>
            <a:pPr lvl="1"/>
            <a:r>
              <a:rPr lang="es-CO" sz="1600" dirty="0" smtClean="0">
                <a:latin typeface="Arial Narrow" panose="020B0606020202030204" pitchFamily="34" charset="0"/>
              </a:rPr>
              <a:t>Cultura de la Legalidad y la integridad PGN,  Delitos Contra la Administración Pública y Nuevo Código de Procedimiento Administrativo y de lo Contencioso Administrativo _ Ley 1437 de 2011</a:t>
            </a:r>
          </a:p>
          <a:p>
            <a:pPr lvl="1"/>
            <a:r>
              <a:rPr lang="es-CO" sz="1600" dirty="0" smtClean="0">
                <a:latin typeface="Arial Narrow" panose="020B0606020202030204" pitchFamily="34" charset="0"/>
              </a:rPr>
              <a:t>Servicio al Ciudadano y Atención al cliente</a:t>
            </a:r>
          </a:p>
          <a:p>
            <a:pPr lvl="1"/>
            <a:r>
              <a:rPr lang="es-CO" sz="1600" dirty="0" smtClean="0">
                <a:latin typeface="Arial Narrow" panose="020B0606020202030204" pitchFamily="34" charset="0"/>
              </a:rPr>
              <a:t>Inducción y Reinducción, Integración del Área Financiera – SIIF; Actualización Normatividad de Talento Humano</a:t>
            </a:r>
          </a:p>
          <a:p>
            <a:pPr lvl="1"/>
            <a:r>
              <a:rPr lang="es-CO" sz="1600" dirty="0" smtClean="0">
                <a:latin typeface="Arial Narrow" panose="020B0606020202030204" pitchFamily="34" charset="0"/>
              </a:rPr>
              <a:t>Gestión Documental, Sistemas de Información y Gestión del Empleo Público</a:t>
            </a:r>
          </a:p>
          <a:p>
            <a:pPr lvl="1"/>
            <a:endParaRPr lang="es-CO" sz="2000" dirty="0"/>
          </a:p>
        </p:txBody>
      </p:sp>
      <p:sp>
        <p:nvSpPr>
          <p:cNvPr id="3" name="CuadroTexto 2"/>
          <p:cNvSpPr txBox="1"/>
          <p:nvPr/>
        </p:nvSpPr>
        <p:spPr>
          <a:xfrm>
            <a:off x="1208584" y="1424970"/>
            <a:ext cx="693811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4000" dirty="0">
                <a:solidFill>
                  <a:srgbClr val="1F497D">
                    <a:lumMod val="50000"/>
                  </a:srgbClr>
                </a:solidFill>
                <a:latin typeface="Impact"/>
                <a:ea typeface="Helvetica Neue Bold Condensed" charset="0"/>
                <a:cs typeface="Impact"/>
              </a:rPr>
              <a:t>Capacitaciones Realizadas 2014</a:t>
            </a:r>
          </a:p>
        </p:txBody>
      </p:sp>
      <p:sp>
        <p:nvSpPr>
          <p:cNvPr id="4" name="Rectángulo 3"/>
          <p:cNvSpPr/>
          <p:nvPr/>
        </p:nvSpPr>
        <p:spPr>
          <a:xfrm>
            <a:off x="920552" y="0"/>
            <a:ext cx="6912768" cy="132343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Temas Administrativos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11705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920552" y="188640"/>
            <a:ext cx="6912768" cy="132343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Temas Administrativos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344488" y="2204864"/>
            <a:ext cx="8712968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dirty="0" smtClean="0"/>
              <a:t>De acuerdo con lo establecido en el numeral 4.2 del </a:t>
            </a:r>
            <a:r>
              <a:rPr lang="es-MX" sz="1400" dirty="0" smtClean="0"/>
              <a:t>instructivo </a:t>
            </a:r>
            <a:r>
              <a:rPr lang="es-MX" sz="1400" dirty="0"/>
              <a:t>No. 003 del 10 de diciembre de 2014 “Instrucciones relacionadas con el cambio de periodo 2014-2015, </a:t>
            </a:r>
            <a:r>
              <a:rPr lang="es-MX" sz="1400" dirty="0" smtClean="0"/>
              <a:t>el </a:t>
            </a:r>
            <a:r>
              <a:rPr lang="es-MX" sz="1400" dirty="0"/>
              <a:t>reporte de información a la Contaduría General de la Nación</a:t>
            </a:r>
            <a:r>
              <a:rPr lang="es-MX" sz="1400" dirty="0" smtClean="0"/>
              <a:t>” la información contable se encuentra publicada en el siguiente link.</a:t>
            </a:r>
          </a:p>
          <a:p>
            <a:endParaRPr lang="es-MX" sz="1400" dirty="0"/>
          </a:p>
          <a:p>
            <a:r>
              <a:rPr lang="es-MX" sz="1400" dirty="0">
                <a:hlinkClick r:id="rId2"/>
              </a:rPr>
              <a:t>http://</a:t>
            </a:r>
            <a:r>
              <a:rPr lang="es-MX" sz="1400" dirty="0" smtClean="0">
                <a:hlinkClick r:id="rId2"/>
              </a:rPr>
              <a:t>www.ani.gov.co/rendicion-de-cuentas/informacion-contable-financiera</a:t>
            </a:r>
            <a:endParaRPr lang="es-MX" sz="1400" dirty="0" smtClean="0"/>
          </a:p>
          <a:p>
            <a:endParaRPr lang="es-MX" sz="1400" dirty="0" smtClean="0"/>
          </a:p>
          <a:p>
            <a:endParaRPr lang="es-CO" sz="1400" dirty="0"/>
          </a:p>
        </p:txBody>
      </p:sp>
    </p:spTree>
    <p:extLst>
      <p:ext uri="{BB962C8B-B14F-4D97-AF65-F5344CB8AC3E}">
        <p14:creationId xmlns:p14="http://schemas.microsoft.com/office/powerpoint/2010/main" val="4190926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1 Título"/>
          <p:cNvSpPr txBox="1">
            <a:spLocks/>
          </p:cNvSpPr>
          <p:nvPr/>
        </p:nvSpPr>
        <p:spPr>
          <a:xfrm>
            <a:off x="1828794" y="1052736"/>
            <a:ext cx="7948742" cy="54006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000" b="1" kern="1200">
                <a:solidFill>
                  <a:schemeClr val="tx1"/>
                </a:solidFill>
                <a:latin typeface="Impact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s-ES" dirty="0">
                <a:solidFill>
                  <a:srgbClr val="1F497D">
                    <a:lumMod val="50000"/>
                  </a:srgbClr>
                </a:solidFill>
                <a:latin typeface="Impact"/>
                <a:ea typeface="Helvetica Neue Bold Condensed" charset="0"/>
                <a:cs typeface="Impact"/>
              </a:rPr>
              <a:t>Plan de Mejoramiento CGR</a:t>
            </a:r>
            <a:endParaRPr lang="es-CO" dirty="0">
              <a:solidFill>
                <a:srgbClr val="1F497D">
                  <a:lumMod val="50000"/>
                </a:srgbClr>
              </a:solidFill>
              <a:latin typeface="Impact"/>
              <a:ea typeface="Helvetica Neue Bold Condensed" charset="0"/>
              <a:cs typeface="Impact"/>
            </a:endParaRPr>
          </a:p>
          <a:p>
            <a:pPr algn="l"/>
            <a:endParaRPr lang="es-CO" sz="2000" dirty="0">
              <a:ln w="0"/>
              <a:solidFill>
                <a:srgbClr val="832748"/>
              </a:solidFill>
              <a:latin typeface="Candara" panose="020E0502030303020204" pitchFamily="34" charset="0"/>
              <a:ea typeface="Helvetica Neue Bold Condensed" charset="0"/>
              <a:cs typeface="Impact"/>
            </a:endParaRPr>
          </a:p>
        </p:txBody>
      </p:sp>
      <p:sp>
        <p:nvSpPr>
          <p:cNvPr id="122" name="Rectángulo 121"/>
          <p:cNvSpPr/>
          <p:nvPr/>
        </p:nvSpPr>
        <p:spPr>
          <a:xfrm>
            <a:off x="5241032" y="5517232"/>
            <a:ext cx="225116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s-MX" sz="1400" b="1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Avance mayor 70%</a:t>
            </a:r>
            <a:endParaRPr lang="es-MX" sz="1400" b="1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123" name="Rectángulo 122"/>
          <p:cNvSpPr/>
          <p:nvPr/>
        </p:nvSpPr>
        <p:spPr>
          <a:xfrm>
            <a:off x="5025008" y="5436513"/>
            <a:ext cx="63991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sz="3200" dirty="0" smtClean="0"/>
              <a:t>30</a:t>
            </a:r>
            <a:endParaRPr lang="es-ES" sz="3200" dirty="0"/>
          </a:p>
        </p:txBody>
      </p:sp>
      <p:sp>
        <p:nvSpPr>
          <p:cNvPr id="130" name="Rectángulo redondeado 7"/>
          <p:cNvSpPr/>
          <p:nvPr/>
        </p:nvSpPr>
        <p:spPr>
          <a:xfrm>
            <a:off x="980893" y="2004887"/>
            <a:ext cx="3729882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 smtClean="0"/>
              <a:t>Administrativos: 181 Hallazgos</a:t>
            </a:r>
            <a:endParaRPr lang="es-CO" sz="2800" b="1" dirty="0"/>
          </a:p>
        </p:txBody>
      </p:sp>
      <p:grpSp>
        <p:nvGrpSpPr>
          <p:cNvPr id="131" name="Grupo 22"/>
          <p:cNvGrpSpPr/>
          <p:nvPr/>
        </p:nvGrpSpPr>
        <p:grpSpPr>
          <a:xfrm>
            <a:off x="272480" y="1900837"/>
            <a:ext cx="796322" cy="739657"/>
            <a:chOff x="1988321" y="0"/>
            <a:chExt cx="810013" cy="1073007"/>
          </a:xfrm>
        </p:grpSpPr>
        <p:sp>
          <p:nvSpPr>
            <p:cNvPr id="132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133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134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35" name="Imagen 13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250" y="2046864"/>
            <a:ext cx="398519" cy="252338"/>
          </a:xfrm>
          <a:prstGeom prst="rect">
            <a:avLst/>
          </a:prstGeom>
        </p:spPr>
      </p:pic>
      <p:sp>
        <p:nvSpPr>
          <p:cNvPr id="136" name="Rectángulo redondeado 7"/>
          <p:cNvSpPr/>
          <p:nvPr/>
        </p:nvSpPr>
        <p:spPr>
          <a:xfrm>
            <a:off x="5919256" y="1974464"/>
            <a:ext cx="3549163" cy="460496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 smtClean="0"/>
              <a:t>Disciplinarios: 139 Hallazgos</a:t>
            </a:r>
            <a:endParaRPr lang="es-CO" b="1" dirty="0">
              <a:solidFill>
                <a:prstClr val="white"/>
              </a:solidFill>
              <a:latin typeface="Arial" panose="020B060402020202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</p:txBody>
      </p:sp>
      <p:grpSp>
        <p:nvGrpSpPr>
          <p:cNvPr id="137" name="Grupo 22"/>
          <p:cNvGrpSpPr/>
          <p:nvPr/>
        </p:nvGrpSpPr>
        <p:grpSpPr>
          <a:xfrm>
            <a:off x="5223959" y="1891184"/>
            <a:ext cx="796322" cy="739657"/>
            <a:chOff x="1988321" y="0"/>
            <a:chExt cx="810013" cy="1073007"/>
          </a:xfrm>
        </p:grpSpPr>
        <p:sp>
          <p:nvSpPr>
            <p:cNvPr id="138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139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140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41" name="Imagen 1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2861" y="2046864"/>
            <a:ext cx="398519" cy="252338"/>
          </a:xfrm>
          <a:prstGeom prst="rect">
            <a:avLst/>
          </a:prstGeom>
        </p:spPr>
      </p:pic>
      <p:sp>
        <p:nvSpPr>
          <p:cNvPr id="142" name="Rectángulo redondeado 7"/>
          <p:cNvSpPr/>
          <p:nvPr/>
        </p:nvSpPr>
        <p:spPr>
          <a:xfrm>
            <a:off x="980893" y="2739985"/>
            <a:ext cx="3729882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 smtClean="0"/>
              <a:t>Fiscales: 12 Hallazgos</a:t>
            </a:r>
            <a:endParaRPr lang="es-CO" sz="2800" b="1" dirty="0"/>
          </a:p>
        </p:txBody>
      </p:sp>
      <p:grpSp>
        <p:nvGrpSpPr>
          <p:cNvPr id="143" name="Grupo 22"/>
          <p:cNvGrpSpPr/>
          <p:nvPr/>
        </p:nvGrpSpPr>
        <p:grpSpPr>
          <a:xfrm>
            <a:off x="272480" y="2635935"/>
            <a:ext cx="796322" cy="739657"/>
            <a:chOff x="1988321" y="0"/>
            <a:chExt cx="810013" cy="1073007"/>
          </a:xfrm>
        </p:grpSpPr>
        <p:sp>
          <p:nvSpPr>
            <p:cNvPr id="144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145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146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47" name="Imagen 14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250" y="2781962"/>
            <a:ext cx="398519" cy="252338"/>
          </a:xfrm>
          <a:prstGeom prst="rect">
            <a:avLst/>
          </a:prstGeom>
        </p:spPr>
      </p:pic>
      <p:sp>
        <p:nvSpPr>
          <p:cNvPr id="148" name="Rectángulo redondeado 7"/>
          <p:cNvSpPr/>
          <p:nvPr/>
        </p:nvSpPr>
        <p:spPr>
          <a:xfrm>
            <a:off x="5919256" y="2709562"/>
            <a:ext cx="3558268" cy="460496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 smtClean="0"/>
              <a:t>Fiscal y Penal: 1 Hallazgo</a:t>
            </a:r>
            <a:endParaRPr lang="es-CO" b="1" dirty="0">
              <a:solidFill>
                <a:prstClr val="white"/>
              </a:solidFill>
              <a:latin typeface="Arial" panose="020B060402020202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</p:txBody>
      </p:sp>
      <p:grpSp>
        <p:nvGrpSpPr>
          <p:cNvPr id="149" name="Grupo 22"/>
          <p:cNvGrpSpPr/>
          <p:nvPr/>
        </p:nvGrpSpPr>
        <p:grpSpPr>
          <a:xfrm>
            <a:off x="5223959" y="2626282"/>
            <a:ext cx="796322" cy="739657"/>
            <a:chOff x="1988321" y="0"/>
            <a:chExt cx="810013" cy="1073007"/>
          </a:xfrm>
        </p:grpSpPr>
        <p:sp>
          <p:nvSpPr>
            <p:cNvPr id="150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151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152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53" name="Imagen 15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2861" y="2781962"/>
            <a:ext cx="398519" cy="252338"/>
          </a:xfrm>
          <a:prstGeom prst="rect">
            <a:avLst/>
          </a:prstGeom>
        </p:spPr>
      </p:pic>
      <p:sp>
        <p:nvSpPr>
          <p:cNvPr id="154" name="Rectángulo redondeado 7"/>
          <p:cNvSpPr/>
          <p:nvPr/>
        </p:nvSpPr>
        <p:spPr>
          <a:xfrm>
            <a:off x="980893" y="3444784"/>
            <a:ext cx="3729882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 smtClean="0"/>
              <a:t>Disciplinario y Fiscal: 69 Hallazgos</a:t>
            </a:r>
            <a:endParaRPr lang="es-CO" sz="2800" b="1" dirty="0"/>
          </a:p>
        </p:txBody>
      </p:sp>
      <p:grpSp>
        <p:nvGrpSpPr>
          <p:cNvPr id="155" name="Grupo 22"/>
          <p:cNvGrpSpPr/>
          <p:nvPr/>
        </p:nvGrpSpPr>
        <p:grpSpPr>
          <a:xfrm>
            <a:off x="272480" y="3340734"/>
            <a:ext cx="796322" cy="739657"/>
            <a:chOff x="1988321" y="0"/>
            <a:chExt cx="810013" cy="1073007"/>
          </a:xfrm>
        </p:grpSpPr>
        <p:sp>
          <p:nvSpPr>
            <p:cNvPr id="156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157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158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59" name="Imagen 15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250" y="3486761"/>
            <a:ext cx="398519" cy="252338"/>
          </a:xfrm>
          <a:prstGeom prst="rect">
            <a:avLst/>
          </a:prstGeom>
        </p:spPr>
      </p:pic>
      <p:sp>
        <p:nvSpPr>
          <p:cNvPr id="160" name="Rectángulo redondeado 7"/>
          <p:cNvSpPr/>
          <p:nvPr/>
        </p:nvSpPr>
        <p:spPr>
          <a:xfrm>
            <a:off x="5919256" y="3414361"/>
            <a:ext cx="3558267" cy="460496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 smtClean="0"/>
              <a:t>Disciplinario y Penal: 16 Hallazgos</a:t>
            </a:r>
            <a:endParaRPr lang="es-CO" b="1" dirty="0">
              <a:solidFill>
                <a:prstClr val="white"/>
              </a:solidFill>
              <a:latin typeface="Arial" panose="020B060402020202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</p:txBody>
      </p:sp>
      <p:grpSp>
        <p:nvGrpSpPr>
          <p:cNvPr id="161" name="Grupo 22"/>
          <p:cNvGrpSpPr/>
          <p:nvPr/>
        </p:nvGrpSpPr>
        <p:grpSpPr>
          <a:xfrm>
            <a:off x="5223959" y="3331081"/>
            <a:ext cx="796322" cy="739657"/>
            <a:chOff x="1988321" y="0"/>
            <a:chExt cx="810013" cy="1073007"/>
          </a:xfrm>
        </p:grpSpPr>
        <p:sp>
          <p:nvSpPr>
            <p:cNvPr id="162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163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164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65" name="Imagen 16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2861" y="3486761"/>
            <a:ext cx="398519" cy="252338"/>
          </a:xfrm>
          <a:prstGeom prst="rect">
            <a:avLst/>
          </a:prstGeom>
        </p:spPr>
      </p:pic>
      <p:sp>
        <p:nvSpPr>
          <p:cNvPr id="166" name="Rectángulo redondeado 7"/>
          <p:cNvSpPr/>
          <p:nvPr/>
        </p:nvSpPr>
        <p:spPr>
          <a:xfrm>
            <a:off x="3408118" y="4271104"/>
            <a:ext cx="3765469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 smtClean="0"/>
              <a:t>Disciplinario, Fiscal y Penal: 16 Hallazgo</a:t>
            </a:r>
            <a:endParaRPr lang="es-CO" sz="2800" b="1" dirty="0"/>
          </a:p>
        </p:txBody>
      </p:sp>
      <p:pic>
        <p:nvPicPr>
          <p:cNvPr id="167" name="Imagen 16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4225" y="4313081"/>
            <a:ext cx="398519" cy="252338"/>
          </a:xfrm>
          <a:prstGeom prst="rect">
            <a:avLst/>
          </a:prstGeom>
        </p:spPr>
      </p:pic>
      <p:cxnSp>
        <p:nvCxnSpPr>
          <p:cNvPr id="169" name="Conector recto 168"/>
          <p:cNvCxnSpPr/>
          <p:nvPr/>
        </p:nvCxnSpPr>
        <p:spPr>
          <a:xfrm flipV="1">
            <a:off x="859769" y="1717483"/>
            <a:ext cx="7666005" cy="3024"/>
          </a:xfrm>
          <a:prstGeom prst="line">
            <a:avLst/>
          </a:prstGeom>
          <a:ln w="28575">
            <a:solidFill>
              <a:srgbClr val="83274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Marcador de número de diapositiva 4"/>
          <p:cNvSpPr txBox="1">
            <a:spLocks/>
          </p:cNvSpPr>
          <p:nvPr/>
        </p:nvSpPr>
        <p:spPr>
          <a:xfrm>
            <a:off x="9255740" y="644025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O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C3898F0-28E6-4BE7-B955-1F8B7A1516EC}" type="slidenum">
              <a:rPr lang="es-ES" sz="1050" smtClean="0">
                <a:solidFill>
                  <a:prstClr val="black">
                    <a:tint val="75000"/>
                  </a:prstClr>
                </a:solidFill>
              </a:rPr>
              <a:pPr/>
              <a:t>8</a:t>
            </a:fld>
            <a:endParaRPr lang="es-ES" sz="105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71" name="Rectángulo 170"/>
          <p:cNvSpPr/>
          <p:nvPr/>
        </p:nvSpPr>
        <p:spPr>
          <a:xfrm>
            <a:off x="344488" y="5426640"/>
            <a:ext cx="243237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ctr"/>
            <a:r>
              <a:rPr lang="es-MX" sz="1400" b="1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Hallazgos consolidados</a:t>
            </a:r>
          </a:p>
          <a:p>
            <a:pPr lvl="1" algn="ctr"/>
            <a:r>
              <a:rPr lang="es-MX" sz="1400" b="1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2014</a:t>
            </a:r>
            <a:endParaRPr lang="es-MX" sz="1400" b="1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172" name="Rectángulo 171"/>
          <p:cNvSpPr/>
          <p:nvPr/>
        </p:nvSpPr>
        <p:spPr>
          <a:xfrm>
            <a:off x="298926" y="5508521"/>
            <a:ext cx="86754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3200" dirty="0" smtClean="0"/>
              <a:t>434</a:t>
            </a:r>
            <a:endParaRPr lang="es-ES" sz="3200" dirty="0"/>
          </a:p>
        </p:txBody>
      </p:sp>
      <p:cxnSp>
        <p:nvCxnSpPr>
          <p:cNvPr id="173" name="Conector recto 172"/>
          <p:cNvCxnSpPr/>
          <p:nvPr/>
        </p:nvCxnSpPr>
        <p:spPr>
          <a:xfrm>
            <a:off x="1136576" y="5433765"/>
            <a:ext cx="0" cy="72000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6" name="Conector recto 175"/>
          <p:cNvCxnSpPr/>
          <p:nvPr/>
        </p:nvCxnSpPr>
        <p:spPr>
          <a:xfrm>
            <a:off x="5673080" y="5433764"/>
            <a:ext cx="0" cy="72000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77" name="Rectángulo 176"/>
          <p:cNvSpPr/>
          <p:nvPr/>
        </p:nvSpPr>
        <p:spPr>
          <a:xfrm>
            <a:off x="3080792" y="5641503"/>
            <a:ext cx="227815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s-MX" sz="1400" b="1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Avance 100%</a:t>
            </a:r>
            <a:endParaRPr lang="es-MX" sz="1400" b="1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178" name="Rectángulo 177"/>
          <p:cNvSpPr/>
          <p:nvPr/>
        </p:nvSpPr>
        <p:spPr>
          <a:xfrm>
            <a:off x="2562121" y="5508521"/>
            <a:ext cx="83708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sz="3200" dirty="0"/>
              <a:t>114</a:t>
            </a:r>
            <a:endParaRPr lang="es-ES" sz="3200" dirty="0"/>
          </a:p>
        </p:txBody>
      </p:sp>
      <p:cxnSp>
        <p:nvCxnSpPr>
          <p:cNvPr id="179" name="Conector recto 178"/>
          <p:cNvCxnSpPr/>
          <p:nvPr/>
        </p:nvCxnSpPr>
        <p:spPr>
          <a:xfrm>
            <a:off x="3440832" y="5423904"/>
            <a:ext cx="0" cy="72000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80" name="Rectángulo 179"/>
          <p:cNvSpPr/>
          <p:nvPr/>
        </p:nvSpPr>
        <p:spPr>
          <a:xfrm>
            <a:off x="7753564" y="5498068"/>
            <a:ext cx="225116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s-MX" sz="1400" b="1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Avance menor 70%</a:t>
            </a:r>
            <a:endParaRPr lang="es-MX" sz="1400" b="1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181" name="Rectángulo 180"/>
          <p:cNvSpPr/>
          <p:nvPr/>
        </p:nvSpPr>
        <p:spPr>
          <a:xfrm>
            <a:off x="7185248" y="5436513"/>
            <a:ext cx="86754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3200" dirty="0" smtClean="0"/>
              <a:t>290</a:t>
            </a:r>
            <a:endParaRPr lang="es-ES" sz="3200" dirty="0"/>
          </a:p>
        </p:txBody>
      </p:sp>
      <p:cxnSp>
        <p:nvCxnSpPr>
          <p:cNvPr id="182" name="Conector recto 181"/>
          <p:cNvCxnSpPr/>
          <p:nvPr/>
        </p:nvCxnSpPr>
        <p:spPr>
          <a:xfrm>
            <a:off x="8049344" y="5387793"/>
            <a:ext cx="0" cy="72000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83" name="Rectángulo redondeado 7"/>
          <p:cNvSpPr/>
          <p:nvPr/>
        </p:nvSpPr>
        <p:spPr>
          <a:xfrm>
            <a:off x="980893" y="2004887"/>
            <a:ext cx="3873898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 smtClean="0"/>
              <a:t>Administrativos: 181 Hallazgos</a:t>
            </a:r>
            <a:endParaRPr lang="es-CO" sz="2800" b="1" dirty="0"/>
          </a:p>
        </p:txBody>
      </p:sp>
      <p:grpSp>
        <p:nvGrpSpPr>
          <p:cNvPr id="184" name="Grupo 22"/>
          <p:cNvGrpSpPr/>
          <p:nvPr/>
        </p:nvGrpSpPr>
        <p:grpSpPr>
          <a:xfrm>
            <a:off x="272480" y="1900837"/>
            <a:ext cx="796322" cy="739657"/>
            <a:chOff x="1988321" y="0"/>
            <a:chExt cx="810013" cy="1073007"/>
          </a:xfrm>
        </p:grpSpPr>
        <p:sp>
          <p:nvSpPr>
            <p:cNvPr id="185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186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187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88" name="Imagen 18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250" y="2046864"/>
            <a:ext cx="398519" cy="252338"/>
          </a:xfrm>
          <a:prstGeom prst="rect">
            <a:avLst/>
          </a:prstGeom>
        </p:spPr>
      </p:pic>
      <p:sp>
        <p:nvSpPr>
          <p:cNvPr id="189" name="Rectángulo redondeado 7"/>
          <p:cNvSpPr/>
          <p:nvPr/>
        </p:nvSpPr>
        <p:spPr>
          <a:xfrm>
            <a:off x="5919256" y="1974464"/>
            <a:ext cx="3549164" cy="460496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 smtClean="0"/>
              <a:t>Disciplinarios: 139 Hallazgos</a:t>
            </a:r>
            <a:endParaRPr lang="es-CO" b="1" dirty="0">
              <a:solidFill>
                <a:prstClr val="white"/>
              </a:solidFill>
              <a:latin typeface="Arial" panose="020B060402020202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</p:txBody>
      </p:sp>
      <p:grpSp>
        <p:nvGrpSpPr>
          <p:cNvPr id="190" name="Grupo 22"/>
          <p:cNvGrpSpPr/>
          <p:nvPr/>
        </p:nvGrpSpPr>
        <p:grpSpPr>
          <a:xfrm>
            <a:off x="5223959" y="1891184"/>
            <a:ext cx="796322" cy="739657"/>
            <a:chOff x="1988321" y="0"/>
            <a:chExt cx="810013" cy="1073007"/>
          </a:xfrm>
        </p:grpSpPr>
        <p:sp>
          <p:nvSpPr>
            <p:cNvPr id="191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192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193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94" name="Imagen 19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2861" y="2046864"/>
            <a:ext cx="398519" cy="252338"/>
          </a:xfrm>
          <a:prstGeom prst="rect">
            <a:avLst/>
          </a:prstGeom>
        </p:spPr>
      </p:pic>
      <p:sp>
        <p:nvSpPr>
          <p:cNvPr id="195" name="Rectángulo redondeado 7"/>
          <p:cNvSpPr/>
          <p:nvPr/>
        </p:nvSpPr>
        <p:spPr>
          <a:xfrm>
            <a:off x="980893" y="2739985"/>
            <a:ext cx="3873898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 smtClean="0"/>
              <a:t>Fiscales: 12 Hallazgos</a:t>
            </a:r>
            <a:endParaRPr lang="es-CO" sz="2800" b="1" dirty="0"/>
          </a:p>
        </p:txBody>
      </p:sp>
      <p:grpSp>
        <p:nvGrpSpPr>
          <p:cNvPr id="196" name="Grupo 22"/>
          <p:cNvGrpSpPr/>
          <p:nvPr/>
        </p:nvGrpSpPr>
        <p:grpSpPr>
          <a:xfrm>
            <a:off x="272480" y="2635935"/>
            <a:ext cx="796322" cy="739657"/>
            <a:chOff x="1988321" y="0"/>
            <a:chExt cx="810013" cy="1073007"/>
          </a:xfrm>
        </p:grpSpPr>
        <p:sp>
          <p:nvSpPr>
            <p:cNvPr id="197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198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199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00" name="Imagen 19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250" y="2781962"/>
            <a:ext cx="398519" cy="252338"/>
          </a:xfrm>
          <a:prstGeom prst="rect">
            <a:avLst/>
          </a:prstGeom>
        </p:spPr>
      </p:pic>
      <p:sp>
        <p:nvSpPr>
          <p:cNvPr id="201" name="Rectángulo redondeado 7"/>
          <p:cNvSpPr/>
          <p:nvPr/>
        </p:nvSpPr>
        <p:spPr>
          <a:xfrm>
            <a:off x="5919256" y="2709562"/>
            <a:ext cx="3549164" cy="460496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 smtClean="0"/>
              <a:t>Fiscal y Penal: 1 Hallazgo</a:t>
            </a:r>
            <a:endParaRPr lang="es-CO" b="1" dirty="0">
              <a:solidFill>
                <a:prstClr val="white"/>
              </a:solidFill>
              <a:latin typeface="Arial" panose="020B060402020202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</p:txBody>
      </p:sp>
      <p:grpSp>
        <p:nvGrpSpPr>
          <p:cNvPr id="202" name="Grupo 22"/>
          <p:cNvGrpSpPr/>
          <p:nvPr/>
        </p:nvGrpSpPr>
        <p:grpSpPr>
          <a:xfrm>
            <a:off x="5223959" y="2626282"/>
            <a:ext cx="796322" cy="739657"/>
            <a:chOff x="1988321" y="0"/>
            <a:chExt cx="810013" cy="1073007"/>
          </a:xfrm>
        </p:grpSpPr>
        <p:sp>
          <p:nvSpPr>
            <p:cNvPr id="203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204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205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06" name="Imagen 20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2861" y="2781962"/>
            <a:ext cx="398519" cy="252338"/>
          </a:xfrm>
          <a:prstGeom prst="rect">
            <a:avLst/>
          </a:prstGeom>
        </p:spPr>
      </p:pic>
      <p:sp>
        <p:nvSpPr>
          <p:cNvPr id="207" name="Rectángulo redondeado 7"/>
          <p:cNvSpPr/>
          <p:nvPr/>
        </p:nvSpPr>
        <p:spPr>
          <a:xfrm>
            <a:off x="980893" y="3444784"/>
            <a:ext cx="3873898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 smtClean="0"/>
              <a:t>Disciplinario y Fiscal: 69 Hallazgos</a:t>
            </a:r>
            <a:endParaRPr lang="es-CO" sz="2800" b="1" dirty="0"/>
          </a:p>
        </p:txBody>
      </p:sp>
      <p:grpSp>
        <p:nvGrpSpPr>
          <p:cNvPr id="208" name="Grupo 22"/>
          <p:cNvGrpSpPr/>
          <p:nvPr/>
        </p:nvGrpSpPr>
        <p:grpSpPr>
          <a:xfrm>
            <a:off x="272480" y="3340734"/>
            <a:ext cx="796322" cy="739657"/>
            <a:chOff x="1988321" y="0"/>
            <a:chExt cx="810013" cy="1073007"/>
          </a:xfrm>
        </p:grpSpPr>
        <p:sp>
          <p:nvSpPr>
            <p:cNvPr id="209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210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211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12" name="Imagen 2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250" y="3486761"/>
            <a:ext cx="398519" cy="252338"/>
          </a:xfrm>
          <a:prstGeom prst="rect">
            <a:avLst/>
          </a:prstGeom>
        </p:spPr>
      </p:pic>
      <p:sp>
        <p:nvSpPr>
          <p:cNvPr id="213" name="Rectángulo redondeado 7"/>
          <p:cNvSpPr/>
          <p:nvPr/>
        </p:nvSpPr>
        <p:spPr>
          <a:xfrm>
            <a:off x="5919256" y="3414361"/>
            <a:ext cx="3549164" cy="460496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 smtClean="0"/>
              <a:t>Disciplinario y Penal: 16 Hallazgos</a:t>
            </a:r>
            <a:endParaRPr lang="es-CO" b="1" dirty="0">
              <a:solidFill>
                <a:prstClr val="white"/>
              </a:solidFill>
              <a:latin typeface="Arial" panose="020B060402020202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</p:txBody>
      </p:sp>
      <p:grpSp>
        <p:nvGrpSpPr>
          <p:cNvPr id="214" name="Grupo 22"/>
          <p:cNvGrpSpPr/>
          <p:nvPr/>
        </p:nvGrpSpPr>
        <p:grpSpPr>
          <a:xfrm>
            <a:off x="5223959" y="3331081"/>
            <a:ext cx="796322" cy="739657"/>
            <a:chOff x="1988321" y="0"/>
            <a:chExt cx="810013" cy="1073007"/>
          </a:xfrm>
        </p:grpSpPr>
        <p:sp>
          <p:nvSpPr>
            <p:cNvPr id="215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216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217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18" name="Imagen 2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2861" y="3486761"/>
            <a:ext cx="398519" cy="252338"/>
          </a:xfrm>
          <a:prstGeom prst="rect">
            <a:avLst/>
          </a:prstGeom>
        </p:spPr>
      </p:pic>
      <p:sp>
        <p:nvSpPr>
          <p:cNvPr id="219" name="Rectángulo redondeado 7"/>
          <p:cNvSpPr/>
          <p:nvPr/>
        </p:nvSpPr>
        <p:spPr>
          <a:xfrm>
            <a:off x="2789812" y="4271104"/>
            <a:ext cx="4395436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 smtClean="0"/>
              <a:t>Disciplinario, Fiscal y Penal: 16 Hallazgos</a:t>
            </a:r>
            <a:endParaRPr lang="es-CO" sz="2800" b="1" dirty="0"/>
          </a:p>
        </p:txBody>
      </p:sp>
      <p:grpSp>
        <p:nvGrpSpPr>
          <p:cNvPr id="220" name="Grupo 22"/>
          <p:cNvGrpSpPr/>
          <p:nvPr/>
        </p:nvGrpSpPr>
        <p:grpSpPr>
          <a:xfrm>
            <a:off x="2081399" y="4167054"/>
            <a:ext cx="796322" cy="739657"/>
            <a:chOff x="1988321" y="0"/>
            <a:chExt cx="810013" cy="1073007"/>
          </a:xfrm>
        </p:grpSpPr>
        <p:sp>
          <p:nvSpPr>
            <p:cNvPr id="221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222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223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24" name="Imagen 2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0169" y="4313081"/>
            <a:ext cx="398519" cy="252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366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 txBox="1">
            <a:spLocks/>
          </p:cNvSpPr>
          <p:nvPr/>
        </p:nvSpPr>
        <p:spPr>
          <a:xfrm>
            <a:off x="704528" y="476672"/>
            <a:ext cx="7948742" cy="54006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000" b="1" kern="1200">
                <a:solidFill>
                  <a:schemeClr val="tx1"/>
                </a:solidFill>
                <a:latin typeface="Impact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CO" dirty="0" smtClean="0">
                <a:solidFill>
                  <a:srgbClr val="1F497D">
                    <a:lumMod val="50000"/>
                  </a:srgbClr>
                </a:solidFill>
                <a:latin typeface="Impact"/>
                <a:ea typeface="Helvetica Neue Bold Condensed" charset="0"/>
                <a:cs typeface="Impact"/>
              </a:rPr>
              <a:t>Premio Nacional de Interventorías </a:t>
            </a:r>
          </a:p>
          <a:p>
            <a:r>
              <a:rPr lang="es-CO" dirty="0" smtClean="0">
                <a:solidFill>
                  <a:srgbClr val="1F497D">
                    <a:lumMod val="50000"/>
                  </a:srgbClr>
                </a:solidFill>
                <a:latin typeface="Impact"/>
                <a:ea typeface="Helvetica Neue Bold Condensed" charset="0"/>
                <a:cs typeface="Impact"/>
              </a:rPr>
              <a:t>Capítulo Concesiones</a:t>
            </a:r>
            <a:endParaRPr lang="es-CO" dirty="0">
              <a:solidFill>
                <a:srgbClr val="1F497D">
                  <a:lumMod val="50000"/>
                </a:srgbClr>
              </a:solidFill>
              <a:latin typeface="Impact"/>
              <a:ea typeface="Helvetica Neue Bold Condensed" charset="0"/>
              <a:cs typeface="Impact"/>
            </a:endParaRPr>
          </a:p>
          <a:p>
            <a:pPr algn="l"/>
            <a:endParaRPr lang="es-CO" sz="2000" dirty="0">
              <a:ln w="0"/>
              <a:solidFill>
                <a:srgbClr val="832748"/>
              </a:solidFill>
              <a:latin typeface="Candara" panose="020E0502030303020204" pitchFamily="34" charset="0"/>
              <a:ea typeface="Helvetica Neue Bold Condensed" charset="0"/>
              <a:cs typeface="Impact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28285" y="1896514"/>
            <a:ext cx="4860933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dirty="0" smtClean="0"/>
              <a:t>En la vigencia 2014 se entregó el primer premio Nacional de Interventorías, </a:t>
            </a:r>
            <a:r>
              <a:rPr lang="es-CO" sz="1400" dirty="0"/>
              <a:t>e</a:t>
            </a:r>
            <a:r>
              <a:rPr lang="es-CO" sz="1400" dirty="0" smtClean="0"/>
              <a:t>ste </a:t>
            </a:r>
            <a:r>
              <a:rPr lang="es-CO" sz="1400" dirty="0"/>
              <a:t>premio se enmarca en el objetivo estratégico de la entidad relacionado con la incorporación de las interventorías a los fines esenciales del Estado, en el que se reconoce el rol crítico que desempeñan las mismas en relación con el éxito de los proyectos de concesión actuales y futuros del </a:t>
            </a:r>
            <a:r>
              <a:rPr lang="es-CO" sz="1400" dirty="0" smtClean="0"/>
              <a:t>país.</a:t>
            </a:r>
            <a:endParaRPr lang="es-CO" sz="1400" dirty="0"/>
          </a:p>
        </p:txBody>
      </p:sp>
      <p:pic>
        <p:nvPicPr>
          <p:cNvPr id="1026" name="Picture 2" descr="http://www.ani.gov.co/sites/default/files/styles/516x387/public/interventorias.jpg?itok=8Sieuqf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1078" y="2317536"/>
            <a:ext cx="3145109" cy="2358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uadroTexto 3"/>
          <p:cNvSpPr txBox="1"/>
          <p:nvPr/>
        </p:nvSpPr>
        <p:spPr>
          <a:xfrm>
            <a:off x="4016896" y="4803503"/>
            <a:ext cx="558473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dirty="0"/>
              <a:t>Los consorcios </a:t>
            </a:r>
            <a:r>
              <a:rPr lang="es-CO" sz="1400" dirty="0" err="1"/>
              <a:t>Interconcesiones</a:t>
            </a:r>
            <a:r>
              <a:rPr lang="es-CO" sz="1400" dirty="0"/>
              <a:t> 2012 (</a:t>
            </a:r>
            <a:r>
              <a:rPr lang="es-CO" sz="1400" dirty="0" err="1"/>
              <a:t>Joyco</a:t>
            </a:r>
            <a:r>
              <a:rPr lang="es-CO" sz="1400" dirty="0"/>
              <a:t> SAS y Consultores Técnicos y Económicos SA), R&amp;Q </a:t>
            </a:r>
            <a:r>
              <a:rPr lang="es-CO" sz="1400" dirty="0" err="1"/>
              <a:t>Servinc</a:t>
            </a:r>
            <a:r>
              <a:rPr lang="es-CO" sz="1400" dirty="0"/>
              <a:t> y </a:t>
            </a:r>
            <a:r>
              <a:rPr lang="es-CO" sz="1400" dirty="0" err="1"/>
              <a:t>Zañartu</a:t>
            </a:r>
            <a:r>
              <a:rPr lang="es-CO" sz="1400" dirty="0"/>
              <a:t> - MAB - </a:t>
            </a:r>
            <a:r>
              <a:rPr lang="es-CO" sz="1400" dirty="0" err="1"/>
              <a:t>Velnec</a:t>
            </a:r>
            <a:r>
              <a:rPr lang="es-CO" sz="1400" dirty="0"/>
              <a:t> fueron galardonados con la primera estatuilla que otorga la Agencia Nacional de Infraestructura a las interventorías que contribuyen con su desempeño y gestión de excelencia a garantizar el éxito de los proyectos a través de la vigilancia y control que </a:t>
            </a:r>
            <a:r>
              <a:rPr lang="es-CO" sz="1400" dirty="0" smtClean="0"/>
              <a:t>ejercen</a:t>
            </a:r>
            <a:endParaRPr lang="es-CO" sz="1400" dirty="0"/>
          </a:p>
        </p:txBody>
      </p:sp>
    </p:spTree>
    <p:extLst>
      <p:ext uri="{BB962C8B-B14F-4D97-AF65-F5344CB8AC3E}">
        <p14:creationId xmlns:p14="http://schemas.microsoft.com/office/powerpoint/2010/main" val="1319272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K6l97Lt0aBqNfC0v42f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K6l97Lt0aBqNfC0v42f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K6l97Lt0aBqNfC0v42f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K6l97Lt0aBqNfC0v42f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K6l97Lt0aBqNfC0v42f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K6l97Lt0aBqNfC0v42fA"/>
</p:tagLst>
</file>

<file path=ppt/theme/theme1.xml><?xml version="1.0" encoding="utf-8"?>
<a:theme xmlns:a="http://schemas.openxmlformats.org/drawingml/2006/main" name="plantilla ANI">
  <a:themeElements>
    <a:clrScheme name="Personalizado 5">
      <a:dk1>
        <a:srgbClr val="022B44"/>
      </a:dk1>
      <a:lt1>
        <a:sysClr val="window" lastClr="FFFFFF"/>
      </a:lt1>
      <a:dk2>
        <a:srgbClr val="FFFFFF"/>
      </a:dk2>
      <a:lt2>
        <a:srgbClr val="D8D8D8"/>
      </a:lt2>
      <a:accent1>
        <a:srgbClr val="B8CCE4"/>
      </a:accent1>
      <a:accent2>
        <a:srgbClr val="EFA674"/>
      </a:accent2>
      <a:accent3>
        <a:srgbClr val="366092"/>
      </a:accent3>
      <a:accent4>
        <a:srgbClr val="DB620F"/>
      </a:accent4>
      <a:accent5>
        <a:srgbClr val="FBD5B5"/>
      </a:accent5>
      <a:accent6>
        <a:srgbClr val="6D96C7"/>
      </a:accent6>
      <a:hlink>
        <a:srgbClr val="000000"/>
      </a:hlink>
      <a:folHlink>
        <a:srgbClr val="DB620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50000"/>
          </a:schemeClr>
        </a:solidFill>
      </a:spPr>
      <a:bodyPr rtlCol="0" anchor="ctr"/>
      <a:lstStyle>
        <a:defPPr algn="ctr">
          <a:defRPr b="1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lantilla ANI</Template>
  <TotalTime>9225</TotalTime>
  <Words>581</Words>
  <Application>Microsoft Office PowerPoint</Application>
  <PresentationFormat>A4 (210 x 297 mm)</PresentationFormat>
  <Paragraphs>73</Paragraphs>
  <Slides>9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11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9</vt:i4>
      </vt:variant>
    </vt:vector>
  </HeadingPairs>
  <TitlesOfParts>
    <vt:vector size="21" baseType="lpstr">
      <vt:lpstr>MS Mincho</vt:lpstr>
      <vt:lpstr>ＭＳ Ｐゴシック</vt:lpstr>
      <vt:lpstr>Arial</vt:lpstr>
      <vt:lpstr>Arial Black</vt:lpstr>
      <vt:lpstr>Arial Narrow</vt:lpstr>
      <vt:lpstr>Calibri</vt:lpstr>
      <vt:lpstr>Candara</vt:lpstr>
      <vt:lpstr>Futura Lt</vt:lpstr>
      <vt:lpstr>Helvetica Neue Bold Condensed</vt:lpstr>
      <vt:lpstr>Impact</vt:lpstr>
      <vt:lpstr>Times New Roman</vt:lpstr>
      <vt:lpstr>plantilla ANI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nrojas</dc:creator>
  <cp:lastModifiedBy>Ricardo Aguilera Wilches</cp:lastModifiedBy>
  <cp:revision>298</cp:revision>
  <cp:lastPrinted>2012-11-28T19:27:24Z</cp:lastPrinted>
  <dcterms:created xsi:type="dcterms:W3CDTF">2012-11-16T19:55:35Z</dcterms:created>
  <dcterms:modified xsi:type="dcterms:W3CDTF">2015-02-24T16:11:59Z</dcterms:modified>
</cp:coreProperties>
</file>